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65" y="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3/12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3/12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8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 December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0c6e4d41a40b9b8b0240ce6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D6D3D92-F45C-4FD2-9FAB-C96A8522A4E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4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82804"/>
              <a:ext cx="3889375" cy="36659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/>
              <a:t>Optimice su consumo de energía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es-ES"/>
              <a:t>Medición del consumo eléctrico 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32023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es-ES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</a:t>
            </a:r>
            <a:r>
              <a:rPr lang="es-ES" sz="800" dirty="0">
                <a:solidFill>
                  <a:srgbClr val="000000"/>
                </a:solidFill>
              </a:rPr>
              <a:t> Eficiencia, </a:t>
            </a:r>
            <a:r>
              <a:rPr lang="en-US" sz="800" kern="0" dirty="0" err="1">
                <a:solidFill>
                  <a:srgbClr val="000000"/>
                </a:solidFill>
              </a:rPr>
              <a:t>Optimización</a:t>
            </a:r>
            <a:r>
              <a:rPr lang="en-US" sz="800" kern="0" dirty="0">
                <a:solidFill>
                  <a:srgbClr val="000000"/>
                </a:solidFill>
              </a:rPr>
              <a:t> de </a:t>
            </a:r>
            <a:r>
              <a:rPr lang="en-US" sz="800" kern="0" dirty="0" err="1">
                <a:solidFill>
                  <a:srgbClr val="000000"/>
                </a:solidFill>
              </a:rPr>
              <a:t>costos</a:t>
            </a:r>
            <a:endParaRPr lang="es-ES" sz="8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 Sopladoras </a:t>
            </a:r>
            <a:r>
              <a:rPr lang="es-ES" sz="800" dirty="0">
                <a:solidFill>
                  <a:srgbClr val="000000"/>
                </a:solidFill>
              </a:rPr>
              <a:t>S2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</a:t>
            </a:r>
            <a:r>
              <a:rPr lang="es-ES" sz="800" dirty="0">
                <a:solidFill>
                  <a:srgbClr val="000000"/>
                </a:solidFill>
              </a:rPr>
              <a:t> 91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51878"/>
            <a:ext cx="3823487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dirty="0"/>
              <a:t>Se muestra el consumo eléctrico en la página de inicio de la IHM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dirty="0"/>
              <a:t>Se requiere una nueva versión del software de PLC/IHM.</a:t>
            </a: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7D3F4717-4C3B-460A-9886-77A76EB4A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169" y="2151878"/>
            <a:ext cx="3677612" cy="2066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1">
              <a:spcBef>
                <a:spcPts val="300"/>
              </a:spcBef>
            </a:pPr>
            <a:r>
              <a:rPr lang="es-ES" sz="1200" dirty="0">
                <a:solidFill>
                  <a:srgbClr val="000000"/>
                </a:solidFill>
              </a:rPr>
              <a:t> Permite evaluar el impacto de la receta del proceso de soplado sobre el consumo eléctrico.</a:t>
            </a:r>
          </a:p>
          <a:p>
            <a:pPr marL="0" lvl="1">
              <a:spcBef>
                <a:spcPts val="648"/>
              </a:spcBef>
            </a:pPr>
            <a:r>
              <a:rPr lang="es-ES" sz="1200" dirty="0">
                <a:solidFill>
                  <a:srgbClr val="000000"/>
                </a:solidFill>
              </a:rPr>
              <a:t> Controla el consumo de electricidad del momento y también sus valores promedio.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6CBD06E-9A3E-4715-8B2F-4133C3DADF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3584" y="3668930"/>
            <a:ext cx="1430870" cy="163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787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86</Words>
  <Application>Microsoft Office PowerPoint</Application>
  <PresentationFormat>On-screen Show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Optimice su consumo de energí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6</cp:revision>
  <dcterms:created xsi:type="dcterms:W3CDTF">2018-02-10T17:04:39Z</dcterms:created>
  <dcterms:modified xsi:type="dcterms:W3CDTF">2018-12-13T15:1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